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325" r:id="rId5"/>
    <p:sldId id="482" r:id="rId6"/>
    <p:sldId id="490" r:id="rId7"/>
    <p:sldId id="480" r:id="rId8"/>
    <p:sldId id="491" r:id="rId9"/>
    <p:sldId id="488" r:id="rId10"/>
  </p:sldIdLst>
  <p:sldSz cx="9144000" cy="5143500" type="screen16x9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2">
          <p15:clr>
            <a:srgbClr val="A4A3A4"/>
          </p15:clr>
        </p15:guide>
        <p15:guide id="2" orient="horz" pos="3027">
          <p15:clr>
            <a:srgbClr val="A4A3A4"/>
          </p15:clr>
        </p15:guide>
        <p15:guide id="3" orient="horz" pos="166">
          <p15:clr>
            <a:srgbClr val="A4A3A4"/>
          </p15:clr>
        </p15:guide>
        <p15:guide id="4" orient="horz" pos="573">
          <p15:clr>
            <a:srgbClr val="A4A3A4"/>
          </p15:clr>
        </p15:guide>
        <p15:guide id="5" orient="horz" pos="2765">
          <p15:clr>
            <a:srgbClr val="A4A3A4"/>
          </p15:clr>
        </p15:guide>
        <p15:guide id="6" orient="horz" pos="480">
          <p15:clr>
            <a:srgbClr val="A4A3A4"/>
          </p15:clr>
        </p15:guide>
        <p15:guide id="7" orient="horz" pos="303">
          <p15:clr>
            <a:srgbClr val="A4A3A4"/>
          </p15:clr>
        </p15:guide>
        <p15:guide id="8" orient="horz" pos="3128">
          <p15:clr>
            <a:srgbClr val="A4A3A4"/>
          </p15:clr>
        </p15:guide>
        <p15:guide id="9" orient="horz" pos="2528">
          <p15:clr>
            <a:srgbClr val="A4A3A4"/>
          </p15:clr>
        </p15:guide>
        <p15:guide id="10" pos="2812">
          <p15:clr>
            <a:srgbClr val="A4A3A4"/>
          </p15:clr>
        </p15:guide>
        <p15:guide id="11" pos="5646">
          <p15:clr>
            <a:srgbClr val="A4A3A4"/>
          </p15:clr>
        </p15:guide>
        <p15:guide id="12" pos="261">
          <p15:clr>
            <a:srgbClr val="A4A3A4"/>
          </p15:clr>
        </p15:guide>
        <p15:guide id="13" pos="2949">
          <p15:clr>
            <a:srgbClr val="A4A3A4"/>
          </p15:clr>
        </p15:guide>
        <p15:guide id="14" pos="113">
          <p15:clr>
            <a:srgbClr val="A4A3A4"/>
          </p15:clr>
        </p15:guide>
        <p15:guide id="15" pos="5500">
          <p15:clr>
            <a:srgbClr val="A4A3A4"/>
          </p15:clr>
        </p15:guide>
        <p15:guide id="16" pos="5281">
          <p15:clr>
            <a:srgbClr val="A4A3A4"/>
          </p15:clr>
        </p15:guide>
        <p15:guide id="17" orient="horz" pos="690">
          <p15:clr>
            <a:srgbClr val="A4A3A4"/>
          </p15:clr>
        </p15:guide>
        <p15:guide id="18" orient="horz" pos="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clrMru>
    <a:srgbClr val="DADADA"/>
    <a:srgbClr val="FF9966"/>
    <a:srgbClr val="663300"/>
    <a:srgbClr val="FF9900"/>
    <a:srgbClr val="FF5050"/>
    <a:srgbClr val="D50511"/>
    <a:srgbClr val="FF7C80"/>
    <a:srgbClr val="FF9999"/>
    <a:srgbClr val="9311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9821" autoAdjust="0"/>
  </p:normalViewPr>
  <p:slideViewPr>
    <p:cSldViewPr snapToGrid="0" snapToObjects="1">
      <p:cViewPr varScale="1">
        <p:scale>
          <a:sx n="85" d="100"/>
          <a:sy n="85" d="100"/>
        </p:scale>
        <p:origin x="690" y="78"/>
      </p:cViewPr>
      <p:guideLst>
        <p:guide orient="horz" pos="702"/>
        <p:guide orient="horz" pos="3027"/>
        <p:guide orient="horz" pos="166"/>
        <p:guide orient="horz" pos="573"/>
        <p:guide orient="horz" pos="2765"/>
        <p:guide orient="horz" pos="480"/>
        <p:guide orient="horz" pos="303"/>
        <p:guide orient="horz" pos="3128"/>
        <p:guide orient="horz" pos="2528"/>
        <p:guide pos="2812"/>
        <p:guide pos="5646"/>
        <p:guide pos="261"/>
        <p:guide pos="2949"/>
        <p:guide pos="113"/>
        <p:guide pos="5500"/>
        <p:guide pos="5281"/>
        <p:guide orient="horz" pos="690"/>
        <p:guide orient="horz" pos="6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20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8/2019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 b="0"/>
            </a:lvl1pPr>
          </a:lstStyle>
          <a:p>
            <a:fld id="{2636F879-443D-410F-A2CF-15E984F48DC2}" type="datetimeFigureOut">
              <a:rPr lang="en-US" smtClean="0"/>
              <a:pPr/>
              <a:t>11/8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TextmasterformatedurchKlickenbearbeiten</a:t>
            </a:r>
            <a:endParaRPr lang="en-US" dirty="0" smtClean="0"/>
          </a:p>
          <a:p>
            <a:pPr lvl="1"/>
            <a:r>
              <a:rPr lang="en-US" dirty="0" err="1" smtClean="0"/>
              <a:t>ZweiteEbene</a:t>
            </a:r>
            <a:endParaRPr lang="en-US" dirty="0" smtClean="0"/>
          </a:p>
          <a:p>
            <a:pPr lvl="2"/>
            <a:r>
              <a:rPr lang="en-US" dirty="0" err="1" smtClean="0"/>
              <a:t>DritteEbene</a:t>
            </a:r>
            <a:endParaRPr lang="en-US" dirty="0" smtClean="0"/>
          </a:p>
          <a:p>
            <a:pPr lvl="3"/>
            <a:r>
              <a:rPr lang="en-US" dirty="0" err="1" smtClean="0"/>
              <a:t>VierteEbene</a:t>
            </a:r>
            <a:endParaRPr lang="en-US" dirty="0" smtClean="0"/>
          </a:p>
          <a:p>
            <a:pPr lvl="4"/>
            <a:r>
              <a:rPr lang="en-US" dirty="0" err="1" smtClean="0"/>
              <a:t>Fünfte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 dirty="0" smtClean="0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66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6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747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w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>
            <a:off x="177800" y="3707288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95125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4510483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1767375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254939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Titel 13"/>
          <p:cNvSpPr>
            <a:spLocks noGrp="1"/>
          </p:cNvSpPr>
          <p:nvPr>
            <p:ph type="title" hasCustomPrompt="1"/>
          </p:nvPr>
        </p:nvSpPr>
        <p:spPr>
          <a:xfrm>
            <a:off x="414000" y="381601"/>
            <a:ext cx="8316000" cy="1385999"/>
          </a:xfrm>
        </p:spPr>
        <p:txBody>
          <a:bodyPr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de-DE" dirty="0" smtClean="0"/>
              <a:t>SAMPLE TITLE ONE OR</a:t>
            </a:r>
            <a:br>
              <a:rPr lang="de-DE" dirty="0" smtClean="0"/>
            </a:br>
            <a:r>
              <a:rPr lang="de-DE" dirty="0" smtClean="0"/>
              <a:t>TWO LINES, Arial, 37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678798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dirty="0" smtClean="0"/>
              <a:t>Marketing &amp; Business Development – Product Developmen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4681538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08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414338" y="1093909"/>
            <a:ext cx="4050000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8" y="1093909"/>
            <a:ext cx="4050000" cy="1876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icon to add picture</a:t>
            </a:r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7"/>
          </p:nvPr>
        </p:nvSpPr>
        <p:spPr bwMode="ltGray">
          <a:xfrm>
            <a:off x="467898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7" name="Bildplatzhalter 11"/>
          <p:cNvSpPr>
            <a:spLocks noGrp="1"/>
          </p:cNvSpPr>
          <p:nvPr>
            <p:ph type="pic" sz="quarter" idx="18"/>
          </p:nvPr>
        </p:nvSpPr>
        <p:spPr bwMode="ltGray">
          <a:xfrm>
            <a:off x="676953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14338" y="1093909"/>
            <a:ext cx="4049712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8496591" y="4839362"/>
            <a:ext cx="384710" cy="176212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it-IT" dirty="0" smtClean="0"/>
              <a:t>Rev_0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hidden">
          <a:xfrm>
            <a:off x="414000" y="2914161"/>
            <a:ext cx="5256000" cy="177213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 pt”</a:t>
            </a:r>
            <a:endParaRPr lang="en-US" noProof="0" dirty="0" smtClean="0"/>
          </a:p>
        </p:txBody>
      </p:sp>
      <p:sp>
        <p:nvSpPr>
          <p:cNvPr id="9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51000"/>
            <a:ext cx="8316000" cy="324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25 pt”</a:t>
            </a:r>
            <a:endParaRPr lang="en-US" noProof="0" dirty="0" smtClean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000" y="1093909"/>
            <a:ext cx="8316000" cy="299823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/>
            </a:lvl1pPr>
            <a:lvl2pPr>
              <a:spcAft>
                <a:spcPts val="0"/>
              </a:spcAft>
              <a:buFontTx/>
              <a:buNone/>
              <a:defRPr sz="1200" b="0" baseline="0"/>
            </a:lvl2pPr>
            <a:lvl3pPr>
              <a:spcAft>
                <a:spcPts val="0"/>
              </a:spcAft>
              <a:buClr>
                <a:schemeClr val="tx1"/>
              </a:buClr>
              <a:defRPr sz="12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7" name="Textfeld 16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 baseline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3912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8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083600"/>
            <a:ext cx="8316000" cy="540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0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00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2988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 flip="none" rotWithShape="1"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4256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9144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752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4666226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385200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004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9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13859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1" descr="Verlauf_laengs_large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223100"/>
            <a:ext cx="8784000" cy="3786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1296000"/>
            <a:ext cx="8208000" cy="1161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File sharing tool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592000"/>
            <a:ext cx="8208000" cy="81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8" name="Textplatzhalter 14"/>
          <p:cNvSpPr txBox="1">
            <a:spLocks/>
          </p:cNvSpPr>
          <p:nvPr userDrawn="1"/>
        </p:nvSpPr>
        <p:spPr>
          <a:xfrm>
            <a:off x="467999" y="4576515"/>
            <a:ext cx="4493745" cy="2608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 eaLnBrk="1" fontAlgn="auto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/>
            </a:pPr>
            <a:r>
              <a:rPr lang="en-US" dirty="0" smtClean="0">
                <a:solidFill>
                  <a:srgbClr val="000000"/>
                </a:solidFill>
                <a:latin typeface="Arial"/>
              </a:rPr>
              <a:t>DHL Express</a:t>
            </a:r>
            <a:r>
              <a:rPr lang="en-US" baseline="0" dirty="0" smtClean="0">
                <a:solidFill>
                  <a:srgbClr val="000000"/>
                </a:solidFill>
                <a:latin typeface="Arial"/>
              </a:rPr>
              <a:t> Italy</a:t>
            </a:r>
          </a:p>
        </p:txBody>
      </p:sp>
      <p:pic>
        <p:nvPicPr>
          <p:cNvPr id="9" name="Picture 247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878" b="-9146"/>
          <a:stretch>
            <a:fillRect/>
          </a:stretch>
        </p:blipFill>
        <p:spPr bwMode="auto">
          <a:xfrm>
            <a:off x="6883712" y="4608910"/>
            <a:ext cx="1792288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8280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 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000" y="4517514"/>
            <a:ext cx="1800000" cy="259517"/>
          </a:xfrm>
          <a:prstGeom prst="rect">
            <a:avLst/>
          </a:prstGeom>
          <a:noFill/>
        </p:spPr>
      </p:pic>
      <p:sp>
        <p:nvSpPr>
          <p:cNvPr id="7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2140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0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123860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8370286" y="4644000"/>
            <a:ext cx="362863" cy="1561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413999" y="1105200"/>
            <a:ext cx="4248000" cy="174509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36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240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14000" y="1105200"/>
            <a:ext cx="6155999" cy="1349998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0" name="Textfeld 9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4000" y="1105199"/>
            <a:ext cx="6156000" cy="1350000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Gradient, Arial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400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9" name="Rechteck 8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8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8315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3999" y="1093909"/>
            <a:ext cx="4050000" cy="20088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385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5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5520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20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718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8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smtClean="0"/>
              <a:t>Section #</a:t>
            </a:r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33" name="Textfeld 3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414338" y="1093909"/>
            <a:ext cx="8318500" cy="3287591"/>
          </a:xfrm>
        </p:spPr>
        <p:txBody>
          <a:bodyPr/>
          <a:lstStyle>
            <a:lvl3pPr>
              <a:defRPr/>
            </a:lvl3pPr>
            <a:lvl4pPr>
              <a:defRPr/>
            </a:lvl4pPr>
            <a:lvl5pPr marL="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584187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" name="think-cell Folie" r:id="rId24" imgW="360" imgH="360" progId="">
                  <p:embed/>
                </p:oleObj>
              </mc:Choice>
              <mc:Fallback>
                <p:oleObj name="think-cell Folie" r:id="rId2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414000" y="1093909"/>
            <a:ext cx="8316000" cy="32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meta-classification"/>
          <p:cNvSpPr txBox="1"/>
          <p:nvPr/>
        </p:nvSpPr>
        <p:spPr>
          <a:xfrm>
            <a:off x="414000" y="0"/>
            <a:ext cx="1003480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/>
          <a:p>
            <a:pPr lvl="0"/>
            <a:r>
              <a:rPr lang="en-US" sz="800" b="1" dirty="0" smtClean="0">
                <a:solidFill>
                  <a:schemeClr val="accent1"/>
                </a:solidFill>
              </a:rPr>
              <a:t>FOR INTERNAL USE</a:t>
            </a: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Marketing &amp; Business Development – Product Development </a:t>
            </a:r>
            <a:endParaRPr lang="de-DE" dirty="0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6" r:id="rId4"/>
    <p:sldLayoutId id="2147483678" r:id="rId5"/>
    <p:sldLayoutId id="2147483691" r:id="rId6"/>
    <p:sldLayoutId id="2147483658" r:id="rId7"/>
    <p:sldLayoutId id="2147483659" r:id="rId8"/>
    <p:sldLayoutId id="2147483650" r:id="rId9"/>
    <p:sldLayoutId id="2147483654" r:id="rId10"/>
    <p:sldLayoutId id="2147483686" r:id="rId11"/>
    <p:sldLayoutId id="2147483687" r:id="rId12"/>
    <p:sldLayoutId id="2147483693" r:id="rId13"/>
    <p:sldLayoutId id="2147483668" r:id="rId14"/>
    <p:sldLayoutId id="2147483667" r:id="rId15"/>
    <p:sldLayoutId id="2147483692" r:id="rId16"/>
    <p:sldLayoutId id="2147483674" r:id="rId17"/>
    <p:sldLayoutId id="2147483675" r:id="rId18"/>
    <p:sldLayoutId id="2147483690" r:id="rId19"/>
    <p:sldLayoutId id="2147483694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 cap="none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sz="1200" b="0" i="0" kern="1200" baseline="0">
          <a:solidFill>
            <a:schemeClr val="tx1"/>
          </a:solidFill>
          <a:latin typeface="+mj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55600" y="1224686"/>
            <a:ext cx="793115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 smtClean="0">
                <a:solidFill>
                  <a:srgbClr val="C00000"/>
                </a:solidFill>
              </a:rPr>
              <a:t>HUB – SATS Information</a:t>
            </a:r>
          </a:p>
          <a:p>
            <a:endParaRPr lang="it-IT" sz="3200" dirty="0">
              <a:solidFill>
                <a:srgbClr val="C00000"/>
              </a:solidFill>
            </a:endParaRPr>
          </a:p>
          <a:p>
            <a:endParaRPr lang="it-IT" sz="2400" dirty="0" smtClean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endParaRPr lang="it-IT" sz="1400" dirty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r>
              <a:rPr lang="it-IT" sz="1200" dirty="0" smtClean="0"/>
              <a:t>08 / 11 / 2019</a:t>
            </a:r>
          </a:p>
          <a:p>
            <a:endParaRPr lang="it-IT" sz="1200" dirty="0"/>
          </a:p>
          <a:p>
            <a:endParaRPr lang="it-IT" sz="120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en-US" dirty="0" smtClean="0"/>
              <a:t>Overview</a:t>
            </a:r>
            <a:endParaRPr lang="it-IT" dirty="0"/>
          </a:p>
        </p:txBody>
      </p:sp>
      <p:sp>
        <p:nvSpPr>
          <p:cNvPr id="9" name="TextBox 8"/>
          <p:cNvSpPr txBox="1"/>
          <p:nvPr/>
        </p:nvSpPr>
        <p:spPr>
          <a:xfrm>
            <a:off x="1192760" y="3267242"/>
            <a:ext cx="1368152" cy="6092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500"/>
              </a:spcAft>
            </a:pPr>
            <a:r>
              <a:rPr lang="it-IT" dirty="0" smtClean="0">
                <a:solidFill>
                  <a:schemeClr val="bg1"/>
                </a:solidFill>
              </a:rPr>
              <a:t>Cyber Security</a:t>
            </a:r>
          </a:p>
        </p:txBody>
      </p:sp>
      <p:sp>
        <p:nvSpPr>
          <p:cNvPr id="6" name="AutoShape 2" descr="Bildergebnis für cia triad"/>
          <p:cNvSpPr>
            <a:spLocks noChangeAspect="1" noChangeArrowheads="1"/>
          </p:cNvSpPr>
          <p:nvPr/>
        </p:nvSpPr>
        <p:spPr bwMode="auto">
          <a:xfrm>
            <a:off x="155575" y="-1652588"/>
            <a:ext cx="3810000" cy="3448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7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High Level Communications Schema – TIER 1 / TIER 2</a:t>
            </a:r>
            <a:endParaRPr lang="it-IT" dirty="0"/>
          </a:p>
        </p:txBody>
      </p:sp>
      <p:grpSp>
        <p:nvGrpSpPr>
          <p:cNvPr id="125" name="Group 124"/>
          <p:cNvGrpSpPr/>
          <p:nvPr/>
        </p:nvGrpSpPr>
        <p:grpSpPr>
          <a:xfrm>
            <a:off x="759193" y="1144837"/>
            <a:ext cx="7545114" cy="3076108"/>
            <a:chOff x="1033736" y="1417887"/>
            <a:chExt cx="7545114" cy="3076108"/>
          </a:xfrm>
        </p:grpSpPr>
        <p:cxnSp>
          <p:nvCxnSpPr>
            <p:cNvPr id="103" name="Straight Arrow Connector 102"/>
            <p:cNvCxnSpPr>
              <a:stCxn id="5" idx="1"/>
              <a:endCxn id="5" idx="3"/>
            </p:cNvCxnSpPr>
            <p:nvPr/>
          </p:nvCxnSpPr>
          <p:spPr bwMode="auto">
            <a:xfrm>
              <a:off x="4331078" y="1551695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98" name="Straight Arrow Connector 97"/>
            <p:cNvCxnSpPr>
              <a:stCxn id="76" idx="3"/>
              <a:endCxn id="76" idx="1"/>
            </p:cNvCxnSpPr>
            <p:nvPr/>
          </p:nvCxnSpPr>
          <p:spPr bwMode="auto">
            <a:xfrm flipH="1">
              <a:off x="4331078" y="4363190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" name="Rectangle 5"/>
            <p:cNvSpPr/>
            <p:nvPr/>
          </p:nvSpPr>
          <p:spPr bwMode="auto">
            <a:xfrm>
              <a:off x="3883501" y="1773261"/>
              <a:ext cx="4180251" cy="1754647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 rot="5400000">
              <a:off x="7638110" y="2805302"/>
              <a:ext cx="1484376" cy="397105"/>
              <a:chOff x="2088107" y="1339651"/>
              <a:chExt cx="873457" cy="397105"/>
            </a:xfrm>
          </p:grpSpPr>
          <p:sp>
            <p:nvSpPr>
              <p:cNvPr id="57" name="Left-Right Arrow 56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 rot="16200000">
                <a:off x="2322953" y="1462556"/>
                <a:ext cx="397105" cy="1512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5</a:t>
                </a:r>
                <a:endParaRPr lang="en-US" sz="1200" dirty="0" err="1" smtClean="0"/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3890732" y="3643055"/>
              <a:ext cx="3083986" cy="203133"/>
              <a:chOff x="2090150" y="1436637"/>
              <a:chExt cx="871414" cy="203133"/>
            </a:xfrm>
          </p:grpSpPr>
          <p:sp>
            <p:nvSpPr>
              <p:cNvPr id="60" name="Left-Right Arrow 59"/>
              <p:cNvSpPr/>
              <p:nvPr/>
            </p:nvSpPr>
            <p:spPr bwMode="auto">
              <a:xfrm>
                <a:off x="2090150" y="1446663"/>
                <a:ext cx="871414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7</a:t>
                </a:r>
                <a:endParaRPr lang="en-US" sz="1200" dirty="0" err="1" smtClean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47551" y="3643055"/>
              <a:ext cx="835244" cy="203133"/>
              <a:chOff x="2102374" y="1436637"/>
              <a:chExt cx="859190" cy="203133"/>
            </a:xfrm>
          </p:grpSpPr>
          <p:sp>
            <p:nvSpPr>
              <p:cNvPr id="63" name="Left-Right Arrow 62"/>
              <p:cNvSpPr/>
              <p:nvPr/>
            </p:nvSpPr>
            <p:spPr bwMode="auto">
              <a:xfrm>
                <a:off x="2102374" y="1446663"/>
                <a:ext cx="859190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8</a:t>
                </a:r>
                <a:endParaRPr lang="en-US" sz="1200" dirty="0" err="1" smtClean="0"/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2274288" y="3643055"/>
              <a:ext cx="759393" cy="203133"/>
              <a:chOff x="2088107" y="1436637"/>
              <a:chExt cx="873457" cy="203133"/>
            </a:xfrm>
          </p:grpSpPr>
          <p:sp>
            <p:nvSpPr>
              <p:cNvPr id="66" name="Left-Right Arrow 65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9</a:t>
                </a:r>
                <a:endParaRPr lang="en-US" sz="1200" dirty="0" err="1" smtClean="0"/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6974718" y="3643055"/>
              <a:ext cx="837953" cy="203133"/>
              <a:chOff x="2088107" y="1436637"/>
              <a:chExt cx="873457" cy="203133"/>
            </a:xfrm>
          </p:grpSpPr>
          <p:sp>
            <p:nvSpPr>
              <p:cNvPr id="72" name="Left-Right Arrow 71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6</a:t>
                </a:r>
                <a:endParaRPr lang="en-US" sz="1200" dirty="0" err="1" smtClean="0"/>
              </a:p>
            </p:txBody>
          </p:sp>
        </p:grpSp>
        <p:cxnSp>
          <p:nvCxnSpPr>
            <p:cNvPr id="9" name="Straight Connector 8"/>
            <p:cNvCxnSpPr>
              <a:stCxn id="81" idx="6"/>
              <a:endCxn id="77" idx="2"/>
            </p:cNvCxnSpPr>
            <p:nvPr/>
          </p:nvCxnSpPr>
          <p:spPr bwMode="auto">
            <a:xfrm>
              <a:off x="3121500" y="1996403"/>
              <a:ext cx="677524" cy="155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3" name="Straight Connector 82"/>
            <p:cNvCxnSpPr>
              <a:stCxn id="78" idx="6"/>
              <a:endCxn id="82" idx="2"/>
            </p:cNvCxnSpPr>
            <p:nvPr/>
          </p:nvCxnSpPr>
          <p:spPr bwMode="auto">
            <a:xfrm>
              <a:off x="3961178" y="3510112"/>
              <a:ext cx="3775542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16" name="Group 115"/>
            <p:cNvGrpSpPr/>
            <p:nvPr/>
          </p:nvGrpSpPr>
          <p:grpSpPr>
            <a:xfrm>
              <a:off x="1033736" y="1417887"/>
              <a:ext cx="7215934" cy="3076108"/>
              <a:chOff x="1033736" y="1328987"/>
              <a:chExt cx="7215934" cy="3076108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2274288" y="2069755"/>
                <a:ext cx="759392" cy="203133"/>
                <a:chOff x="2133046" y="1361573"/>
                <a:chExt cx="828518" cy="203133"/>
              </a:xfrm>
            </p:grpSpPr>
            <p:sp>
              <p:nvSpPr>
                <p:cNvPr id="54" name="Left-Right Arrow 53"/>
                <p:cNvSpPr/>
                <p:nvPr/>
              </p:nvSpPr>
              <p:spPr bwMode="auto">
                <a:xfrm>
                  <a:off x="2133046" y="1367221"/>
                  <a:ext cx="828518" cy="184244"/>
                </a:xfrm>
                <a:prstGeom prst="leftRightArrow">
                  <a:avLst/>
                </a:prstGeom>
                <a:solidFill>
                  <a:schemeClr val="bg2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36000" bIns="36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9536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 err="1" smtClean="0">
                    <a:ln>
                      <a:noFill/>
                    </a:ln>
                    <a:solidFill>
                      <a:schemeClr val="tx1"/>
                    </a:solidFill>
                    <a:effectLst/>
                  </a:endParaRP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2361226" y="1361573"/>
                  <a:ext cx="320559" cy="20313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>
                    <a:lnSpc>
                      <a:spcPct val="110000"/>
                    </a:lnSpc>
                    <a:spcAft>
                      <a:spcPts val="500"/>
                    </a:spcAft>
                  </a:pPr>
                  <a:r>
                    <a:rPr lang="it-IT" sz="1200" dirty="0" smtClean="0"/>
                    <a:t>T1</a:t>
                  </a:r>
                  <a:endParaRPr lang="en-US" sz="1200" dirty="0" err="1" smtClean="0"/>
                </a:p>
              </p:txBody>
            </p:sp>
          </p:grpSp>
          <p:grpSp>
            <p:nvGrpSpPr>
              <p:cNvPr id="115" name="Group 114"/>
              <p:cNvGrpSpPr/>
              <p:nvPr/>
            </p:nvGrpSpPr>
            <p:grpSpPr>
              <a:xfrm>
                <a:off x="1033736" y="1328987"/>
                <a:ext cx="7215934" cy="3076108"/>
                <a:chOff x="1033736" y="1328987"/>
                <a:chExt cx="7215934" cy="3076108"/>
              </a:xfrm>
            </p:grpSpPr>
            <p:grpSp>
              <p:nvGrpSpPr>
                <p:cNvPr id="114" name="Group 113"/>
                <p:cNvGrpSpPr/>
                <p:nvPr/>
              </p:nvGrpSpPr>
              <p:grpSpPr>
                <a:xfrm>
                  <a:off x="1033736" y="1328987"/>
                  <a:ext cx="7215934" cy="3076108"/>
                  <a:chOff x="1033736" y="1328987"/>
                  <a:chExt cx="7215934" cy="3076108"/>
                </a:xfrm>
              </p:grpSpPr>
              <p:grpSp>
                <p:nvGrpSpPr>
                  <p:cNvPr id="87" name="Group 86"/>
                  <p:cNvGrpSpPr/>
                  <p:nvPr/>
                </p:nvGrpSpPr>
                <p:grpSpPr>
                  <a:xfrm>
                    <a:off x="6974716" y="2075403"/>
                    <a:ext cx="833922" cy="203133"/>
                    <a:chOff x="2088107" y="1361573"/>
                    <a:chExt cx="863138" cy="203133"/>
                  </a:xfrm>
                </p:grpSpPr>
                <p:sp>
                  <p:nvSpPr>
                    <p:cNvPr id="88" name="Left-Right Arrow 87"/>
                    <p:cNvSpPr/>
                    <p:nvPr/>
                  </p:nvSpPr>
                  <p:spPr bwMode="auto">
                    <a:xfrm>
                      <a:off x="2088107" y="1361573"/>
                      <a:ext cx="863138" cy="184244"/>
                    </a:xfrm>
                    <a:prstGeom prst="leftRightArrow">
                      <a:avLst/>
                    </a:prstGeom>
                    <a:solidFill>
                      <a:schemeClr val="bg2"/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72000" tIns="36000" rIns="36000" bIns="3600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l" defTabSz="9953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err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</p:txBody>
                </p:sp>
                <p:sp>
                  <p:nvSpPr>
                    <p:cNvPr id="89" name="TextBox 88"/>
                    <p:cNvSpPr txBox="1"/>
                    <p:nvPr/>
                  </p:nvSpPr>
                  <p:spPr>
                    <a:xfrm>
                      <a:off x="2361226" y="1361573"/>
                      <a:ext cx="320559" cy="2031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>
                      <a:spAutoFit/>
                    </a:bodyPr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500"/>
                        </a:spcAft>
                      </a:pPr>
                      <a:r>
                        <a:rPr lang="it-IT" sz="1200" dirty="0" smtClean="0"/>
                        <a:t>T4</a:t>
                      </a:r>
                      <a:endParaRPr lang="en-US" sz="1200" dirty="0" err="1" smtClean="0"/>
                    </a:p>
                  </p:txBody>
                </p:sp>
              </p:grpSp>
              <p:grpSp>
                <p:nvGrpSpPr>
                  <p:cNvPr id="110" name="Group 109"/>
                  <p:cNvGrpSpPr/>
                  <p:nvPr/>
                </p:nvGrpSpPr>
                <p:grpSpPr>
                  <a:xfrm>
                    <a:off x="1033736" y="1328987"/>
                    <a:ext cx="7215934" cy="3076108"/>
                    <a:chOff x="1033736" y="1328987"/>
                    <a:chExt cx="7215934" cy="3076108"/>
                  </a:xfrm>
                </p:grpSpPr>
                <p:sp>
                  <p:nvSpPr>
                    <p:cNvPr id="5" name="Rectangle 4"/>
                    <p:cNvSpPr/>
                    <p:nvPr/>
                  </p:nvSpPr>
                  <p:spPr>
                    <a:xfrm>
                      <a:off x="4331078" y="1331990"/>
                      <a:ext cx="2033556" cy="261610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1100" b="1" dirty="0" smtClean="0"/>
                        <a:t>SORT_RQST</a:t>
                      </a:r>
                      <a:r>
                        <a:rPr lang="en-US" sz="1100" dirty="0" smtClean="0"/>
                        <a:t> / </a:t>
                      </a:r>
                      <a:r>
                        <a:rPr lang="en-US" sz="1100" b="1" dirty="0"/>
                        <a:t>SORT_RSLT</a:t>
                      </a:r>
                    </a:p>
                  </p:txBody>
                </p:sp>
                <p:grpSp>
                  <p:nvGrpSpPr>
                    <p:cNvPr id="109" name="Group 108"/>
                    <p:cNvGrpSpPr/>
                    <p:nvPr/>
                  </p:nvGrpSpPr>
                  <p:grpSpPr>
                    <a:xfrm>
                      <a:off x="1033736" y="1328987"/>
                      <a:ext cx="7215934" cy="3076108"/>
                      <a:chOff x="1033736" y="1328987"/>
                      <a:chExt cx="7215934" cy="3076108"/>
                    </a:xfrm>
                  </p:grpSpPr>
                  <p:grpSp>
                    <p:nvGrpSpPr>
                      <p:cNvPr id="108" name="Group 107"/>
                      <p:cNvGrpSpPr/>
                      <p:nvPr/>
                    </p:nvGrpSpPr>
                    <p:grpSpPr>
                      <a:xfrm>
                        <a:off x="1033736" y="1328987"/>
                        <a:ext cx="7215934" cy="3070477"/>
                        <a:chOff x="1033736" y="1328987"/>
                        <a:chExt cx="7215934" cy="3070477"/>
                      </a:xfrm>
                    </p:grpSpPr>
                    <p:cxnSp>
                      <p:nvCxnSpPr>
                        <p:cNvPr id="34" name="Straight Connector 33"/>
                        <p:cNvCxnSpPr/>
                        <p:nvPr/>
                      </p:nvCxnSpPr>
                      <p:spPr bwMode="auto">
                        <a:xfrm>
                          <a:off x="3039614" y="1645325"/>
                          <a:ext cx="0" cy="2340000"/>
                        </a:xfrm>
                        <a:prstGeom prst="line">
                          <a:avLst/>
                        </a:prstGeom>
                        <a:solidFill>
                          <a:schemeClr val="bg1"/>
                        </a:solidFill>
                        <a:ln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</p:cxnSp>
                    <p:grpSp>
                      <p:nvGrpSpPr>
                        <p:cNvPr id="107" name="Group 106"/>
                        <p:cNvGrpSpPr/>
                        <p:nvPr/>
                      </p:nvGrpSpPr>
                      <p:grpSpPr>
                        <a:xfrm>
                          <a:off x="1033736" y="1328987"/>
                          <a:ext cx="7215934" cy="3070477"/>
                          <a:chOff x="1033736" y="1328987"/>
                          <a:chExt cx="7215934" cy="3070477"/>
                        </a:xfrm>
                      </p:grpSpPr>
                      <p:cxnSp>
                        <p:nvCxnSpPr>
                          <p:cNvPr id="93" name="Straight Connector 92"/>
                          <p:cNvCxnSpPr/>
                          <p:nvPr/>
                        </p:nvCxnSpPr>
                        <p:spPr bwMode="auto">
                          <a:xfrm>
                            <a:off x="3883501" y="1645325"/>
                            <a:ext cx="0" cy="2340000"/>
                          </a:xfrm>
                          <a:prstGeom prst="line">
                            <a:avLst/>
                          </a:prstGeom>
                          <a:solidFill>
                            <a:schemeClr val="bg1"/>
                          </a:solidFill>
                          <a:ln w="12700" cap="flat" cmpd="sng" algn="ctr">
                            <a:solidFill>
                              <a:schemeClr val="accent2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</p:cxnSp>
                      <p:grpSp>
                        <p:nvGrpSpPr>
                          <p:cNvPr id="52" name="Group 51"/>
                          <p:cNvGrpSpPr/>
                          <p:nvPr/>
                        </p:nvGrpSpPr>
                        <p:grpSpPr>
                          <a:xfrm>
                            <a:off x="3890732" y="2072172"/>
                            <a:ext cx="3084695" cy="203133"/>
                            <a:chOff x="2059521" y="1361573"/>
                            <a:chExt cx="914510" cy="203133"/>
                          </a:xfrm>
                        </p:grpSpPr>
                        <p:sp>
                          <p:nvSpPr>
                            <p:cNvPr id="50" name="Left-Right Arrow 49"/>
                            <p:cNvSpPr/>
                            <p:nvPr/>
                          </p:nvSpPr>
                          <p:spPr bwMode="auto">
                            <a:xfrm>
                              <a:off x="2059521" y="1364804"/>
                              <a:ext cx="914510" cy="184244"/>
                            </a:xfrm>
                            <a:prstGeom prst="leftRightArrow">
                              <a:avLst/>
                            </a:prstGeom>
                            <a:solidFill>
                              <a:schemeClr val="bg2"/>
                            </a:solidFill>
                            <a:ln w="12700" cap="flat" cmpd="sng" algn="ctr">
                              <a:noFill/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  <p:txBody>
                            <a:bodyPr vert="horz" wrap="square" lIns="72000" tIns="36000" rIns="36000" bIns="36000" numCol="1" rtlCol="0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indent="0" algn="l" defTabSz="995363" rtl="0" eaLnBrk="0" fontAlgn="base" latinLnBrk="0" hangingPunct="0">
                                <a:lnSpc>
                                  <a:spcPct val="100000"/>
                                </a:lnSpc>
                                <a:spcBef>
                                  <a:spcPct val="0"/>
                                </a:spcBef>
                                <a:spcAft>
                                  <a:spcPct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</a:pPr>
                              <a:endParaRPr kumimoji="0" lang="en-US" sz="1200" b="0" i="0" u="none" strike="noStrike" cap="none" normalizeH="0" baseline="0" dirty="0" err="1" smtClean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</a:endParaRPr>
                            </a:p>
                          </p:txBody>
                        </p:sp>
                        <p:sp>
                          <p:nvSpPr>
                            <p:cNvPr id="51" name="TextBox 50"/>
                            <p:cNvSpPr txBox="1"/>
                            <p:nvPr/>
                          </p:nvSpPr>
                          <p:spPr>
                            <a:xfrm>
                              <a:off x="2361226" y="1361573"/>
                              <a:ext cx="320559" cy="203133"/>
                            </a:xfrm>
                            <a:prstGeom prst="rect">
                              <a:avLst/>
                            </a:prstGeom>
                            <a:noFill/>
                          </p:spPr>
                          <p:txBody>
                            <a:bodyPr wrap="square" lIns="0" tIns="0" rIns="0" bIns="0" rtlCol="0" anchor="ctr">
                              <a:spAutoFit/>
                            </a:bodyPr>
                            <a:lstStyle/>
                            <a:p>
                              <a:pPr algn="ctr">
                                <a:lnSpc>
                                  <a:spcPct val="110000"/>
                                </a:lnSpc>
                                <a:spcAft>
                                  <a:spcPts val="500"/>
                                </a:spcAft>
                              </a:pPr>
                              <a:r>
                                <a:rPr lang="it-IT" sz="1200" dirty="0" smtClean="0"/>
                                <a:t>T3</a:t>
                              </a:r>
                              <a:endParaRPr lang="en-US" sz="1200" dirty="0" err="1" smtClean="0"/>
                            </a:p>
                          </p:txBody>
                        </p:sp>
                      </p:grpSp>
                      <p:grpSp>
                        <p:nvGrpSpPr>
                          <p:cNvPr id="106" name="Group 105"/>
                          <p:cNvGrpSpPr/>
                          <p:nvPr/>
                        </p:nvGrpSpPr>
                        <p:grpSpPr>
                          <a:xfrm>
                            <a:off x="1033736" y="1328987"/>
                            <a:ext cx="7215934" cy="3070477"/>
                            <a:chOff x="1033736" y="1328987"/>
                            <a:chExt cx="7215934" cy="3070477"/>
                          </a:xfrm>
                        </p:grpSpPr>
                        <p:cxnSp>
                          <p:nvCxnSpPr>
                            <p:cNvPr id="36" name="Straight Connector 35"/>
                            <p:cNvCxnSpPr/>
                            <p:nvPr/>
                          </p:nvCxnSpPr>
                          <p:spPr bwMode="auto">
                            <a:xfrm>
                              <a:off x="7818605" y="1645324"/>
                              <a:ext cx="5481" cy="2358000"/>
                            </a:xfrm>
                            <a:prstGeom prst="line">
                              <a:avLst/>
                            </a:prstGeom>
                            <a:solidFill>
                              <a:schemeClr val="bg1"/>
                            </a:solidFill>
                            <a:ln w="12700" cap="flat" cmpd="sng" algn="ctr">
                              <a:solidFill>
                                <a:schemeClr val="accent2"/>
                              </a:solidFill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</p:cxnSp>
                        <p:grpSp>
                          <p:nvGrpSpPr>
                            <p:cNvPr id="97" name="Group 96"/>
                            <p:cNvGrpSpPr/>
                            <p:nvPr/>
                          </p:nvGrpSpPr>
                          <p:grpSpPr>
                            <a:xfrm>
                              <a:off x="1033736" y="1328987"/>
                              <a:ext cx="7215934" cy="3070477"/>
                              <a:chOff x="1033736" y="1328987"/>
                              <a:chExt cx="7215934" cy="3070477"/>
                            </a:xfrm>
                          </p:grpSpPr>
                          <p:sp>
                            <p:nvSpPr>
                              <p:cNvPr id="3" name="Left Bracket 2"/>
                              <p:cNvSpPr/>
                              <p:nvPr/>
                            </p:nvSpPr>
                            <p:spPr bwMode="auto">
                              <a:xfrm rot="5400000">
                                <a:off x="5307681" y="-945013"/>
                                <a:ext cx="236928" cy="4784927"/>
                              </a:xfrm>
                              <a:prstGeom prst="leftBracket">
                                <a:avLst/>
                              </a:prstGeom>
                              <a:ln w="41275">
                                <a:headEnd type="none" w="med" len="med"/>
                                <a:tailEnd type="none" w="med" len="med"/>
                              </a:ln>
                            </p:spPr>
                            <p:style>
                              <a:lnRef idx="1">
                                <a:schemeClr val="dk1"/>
                              </a:lnRef>
                              <a:fillRef idx="0">
                                <a:schemeClr val="dk1"/>
                              </a:fillRef>
                              <a:effectRef idx="0">
                                <a:schemeClr val="dk1"/>
                              </a:effectRef>
                              <a:fontRef idx="minor">
                                <a:schemeClr val="tx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/>
                              </a:p>
                            </p:txBody>
                          </p:sp>
                          <p:grpSp>
                            <p:nvGrpSpPr>
                              <p:cNvPr id="95" name="Group 94"/>
                              <p:cNvGrpSpPr/>
                              <p:nvPr/>
                            </p:nvGrpSpPr>
                            <p:grpSpPr>
                              <a:xfrm>
                                <a:off x="1033736" y="1658098"/>
                                <a:ext cx="7215934" cy="2741366"/>
                                <a:chOff x="1033736" y="1658098"/>
                                <a:chExt cx="7215934" cy="2741366"/>
                              </a:xfrm>
                            </p:grpSpPr>
                            <p:grpSp>
                              <p:nvGrpSpPr>
                                <p:cNvPr id="94" name="Group 93"/>
                                <p:cNvGrpSpPr/>
                                <p:nvPr/>
                              </p:nvGrpSpPr>
                              <p:grpSpPr>
                                <a:xfrm>
                                  <a:off x="1033736" y="1658098"/>
                                  <a:ext cx="7215934" cy="2614986"/>
                                  <a:chOff x="1033736" y="1658098"/>
                                  <a:chExt cx="7215934" cy="2614986"/>
                                </a:xfrm>
                              </p:grpSpPr>
                              <p:grpSp>
                                <p:nvGrpSpPr>
                                  <p:cNvPr id="49" name="Group 48"/>
                                  <p:cNvGrpSpPr/>
                                  <p:nvPr/>
                                </p:nvGrpSpPr>
                                <p:grpSpPr>
                                  <a:xfrm>
                                    <a:off x="1033736" y="1658098"/>
                                    <a:ext cx="7215934" cy="2486418"/>
                                    <a:chOff x="1192760" y="1355179"/>
                                    <a:chExt cx="7215934" cy="2486418"/>
                                  </a:xfrm>
                                </p:grpSpPr>
                                <p:sp>
                                  <p:nvSpPr>
                                    <p:cNvPr id="8" name="TextBox 7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1192760" y="2229287"/>
                                      <a:ext cx="1368152" cy="60922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>
                                      <a:noAutofit/>
                                    </a:bodyPr>
                                    <a:lstStyle/>
                                    <a:p>
                                      <a:pPr algn="ctr"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dirty="0" smtClean="0">
                                          <a:solidFill>
                                            <a:schemeClr val="bg1"/>
                                          </a:solidFill>
                                        </a:rPr>
                                        <a:t>Data Protection</a:t>
                                      </a:r>
                                    </a:p>
                                  </p:txBody>
                                </p:sp>
                                <p:cxnSp>
                                  <p:nvCxnSpPr>
                                    <p:cNvPr id="12" name="Straight Arrow Connector 11"/>
                                    <p:cNvCxnSpPr/>
                                    <p:nvPr/>
                                  </p:nvCxnSpPr>
                                  <p:spPr bwMode="auto">
                                    <a:xfrm>
                                      <a:off x="4362732" y="2290016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00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13" name="Straight Arrow Connector 12"/>
                                    <p:cNvCxnSpPr/>
                                    <p:nvPr/>
                                  </p:nvCxnSpPr>
                                  <p:spPr bwMode="auto">
                                    <a:xfrm flipH="1">
                                      <a:off x="4268658" y="2800700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CC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grpSp>
                                  <p:nvGrpSpPr>
                                    <p:cNvPr id="17" name="Group 16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7560729" y="1990550"/>
                                      <a:ext cx="847965" cy="1114644"/>
                                      <a:chOff x="7560729" y="1990550"/>
                                      <a:chExt cx="847965" cy="1114644"/>
                                    </a:xfrm>
                                  </p:grpSpPr>
                                  <p:pic>
                                    <p:nvPicPr>
                                      <p:cNvPr id="15" name="Picture 14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60729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sp>
                                    <p:nvSpPr>
                                      <p:cNvPr id="16" name="TextBox 15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7668745" y="2812357"/>
                                        <a:ext cx="622406" cy="292837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1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</p:grpSp>
                                <p:grpSp>
                                  <p:nvGrpSpPr>
                                    <p:cNvPr id="22" name="Group 21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1266085" y="1990550"/>
                                      <a:ext cx="2360067" cy="1844205"/>
                                      <a:chOff x="6043864" y="1990550"/>
                                      <a:chExt cx="2360067" cy="1844205"/>
                                    </a:xfrm>
                                  </p:grpSpPr>
                                  <p:sp>
                                    <p:nvSpPr>
                                      <p:cNvPr id="24" name="TextBox 23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6043864" y="3682406"/>
                                        <a:ext cx="946202" cy="152349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2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  <p:pic>
                                    <p:nvPicPr>
                                      <p:cNvPr id="23" name="Picture 22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55966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grpSp>
                                  <p:nvGrpSpPr>
                                    <p:cNvPr id="25" name="Group 24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3681397" y="1984934"/>
                                      <a:ext cx="707532" cy="1123423"/>
                                      <a:chOff x="5222348" y="3135290"/>
                                      <a:chExt cx="707532" cy="1123423"/>
                                    </a:xfrm>
                                  </p:grpSpPr>
                                  <p:pic>
                                    <p:nvPicPr>
                                      <p:cNvPr id="27" name="Picture 26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 flipH="1">
                                        <a:off x="5222348" y="3644416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pic>
                                    <p:nvPicPr>
                                      <p:cNvPr id="26" name="Picture 25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5315583" y="3135290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pic>
                                  <p:nvPicPr>
                                    <p:cNvPr id="30" name="Picture 29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4"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63613" y="1495678"/>
                                      <a:ext cx="551724" cy="55172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2" name="Picture 31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5" cstate="print">
                                      <a:extLst>
                                        <a:ext uri="{28A0092B-C50C-407E-A947-70E740481C1C}">
                                          <a14:useLocalDpi xmlns:a14="http://schemas.microsoft.com/office/drawing/2010/main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227688" y="2375399"/>
                                      <a:ext cx="977658" cy="466449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3" name="Picture 32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6">
                                      <a:duotone>
                                        <a:schemeClr val="accent5">
                                          <a:shade val="45000"/>
                                          <a:satMod val="135000"/>
                                        </a:schemeClr>
                                        <a:prstClr val="white"/>
                                      </a:duotone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88770" y="3202840"/>
                                      <a:ext cx="455494" cy="45549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cxnSp>
                                  <p:nvCxnSpPr>
                                    <p:cNvPr id="35" name="Elbow Connector 34"/>
                                    <p:cNvCxnSpPr>
                                      <a:stCxn id="23" idx="1"/>
                                      <a:endCxn id="30" idx="3"/>
                                    </p:cNvCxnSpPr>
                                    <p:nvPr/>
                                  </p:nvCxnSpPr>
                                  <p:spPr bwMode="auto">
                                    <a:xfrm rot="10800000">
                                      <a:off x="2015337" y="1771541"/>
                                      <a:ext cx="762850" cy="642993"/>
                                    </a:xfrm>
                                    <a:prstGeom prst="bentConnector3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37" name="Elbow Connector 36"/>
                                    <p:cNvCxnSpPr>
                                      <a:stCxn id="23" idx="1"/>
                                      <a:endCxn id="33" idx="3"/>
                                    </p:cNvCxnSpPr>
                                    <p:nvPr/>
                                  </p:nvCxnSpPr>
                                  <p:spPr bwMode="auto">
                                    <a:xfrm rot="10800000" flipV="1">
                                      <a:off x="1944265" y="2414533"/>
                                      <a:ext cx="833923" cy="1016054"/>
                                    </a:xfrm>
                                    <a:prstGeom prst="bentConnector3">
                                      <a:avLst>
                                        <a:gd name="adj1" fmla="val 45858"/>
                                      </a:avLst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sp>
                                  <p:nvSpPr>
                                    <p:cNvPr id="43" name="TextBox 42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2890966" y="3701109"/>
                                      <a:ext cx="622406" cy="14048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 anchor="ctr">
                                      <a:spAutoFit/>
                                    </a:bodyPr>
                                    <a:lstStyle/>
                                    <a:p>
                                      <a:pPr algn="ctr">
                                        <a:lnSpc>
                                          <a:spcPct val="110000"/>
                                        </a:lnSpc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sz="900" b="1" dirty="0" smtClean="0"/>
                                        <a:t>GTW TIER2</a:t>
                                      </a:r>
                                      <a:endParaRPr lang="en-US" sz="900" b="1" dirty="0" err="1" smtClean="0"/>
                                    </a:p>
                                  </p:txBody>
                                </p:sp>
                                <p:grpSp>
                                  <p:nvGrpSpPr>
                                    <p:cNvPr id="48" name="Group 47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6775010" y="1355179"/>
                                      <a:ext cx="707532" cy="2340000"/>
                                      <a:chOff x="6775010" y="1355179"/>
                                      <a:chExt cx="707532" cy="2340000"/>
                                    </a:xfrm>
                                  </p:grpSpPr>
                                  <p:cxnSp>
                                    <p:nvCxnSpPr>
                                      <p:cNvPr id="46" name="Straight Connector 45"/>
                                      <p:cNvCxnSpPr/>
                                      <p:nvPr/>
                                    </p:nvCxnSpPr>
                                    <p:spPr bwMode="auto">
                                      <a:xfrm>
                                        <a:off x="7134449" y="1355179"/>
                                        <a:ext cx="0" cy="2340000"/>
                                      </a:xfrm>
                                      <a:prstGeom prst="line">
                                        <a:avLst/>
                                      </a:prstGeom>
                                      <a:solidFill>
                                        <a:schemeClr val="bg1"/>
                                      </a:solidFill>
                                      <a:ln w="12700" cap="flat" cmpd="sng" algn="ctr">
                                        <a:solidFill>
                                          <a:schemeClr val="accent2"/>
                                        </a:solidFill>
                                        <a:prstDash val="solid"/>
                                        <a:round/>
                                        <a:headEnd type="none" w="med" len="med"/>
                                        <a:tailEnd type="none" w="med" len="med"/>
                                      </a:ln>
                                      <a:effectLst/>
                                    </p:spPr>
                                  </p:cxnSp>
                                  <p:grpSp>
                                    <p:nvGrpSpPr>
                                      <p:cNvPr id="21" name="Group 20"/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6775010" y="1984934"/>
                                        <a:ext cx="707532" cy="1123423"/>
                                        <a:chOff x="5222348" y="3135290"/>
                                        <a:chExt cx="707532" cy="1123423"/>
                                      </a:xfrm>
                                    </p:grpSpPr>
                                    <p:pic>
                                      <p:nvPicPr>
                                        <p:cNvPr id="19" name="Picture 18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>
                                          <a:off x="5315583" y="3135290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  <p:pic>
                                      <p:nvPicPr>
                                        <p:cNvPr id="20" name="Picture 19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 flipH="1">
                                          <a:off x="5222348" y="3644416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</p:grpSp>
                                </p:grpSp>
                              </p:grpSp>
                              <p:sp>
                                <p:nvSpPr>
                                  <p:cNvPr id="38" name="TextBox 37"/>
                                  <p:cNvSpPr txBox="1"/>
                                  <p:nvPr/>
                                </p:nvSpPr>
                                <p:spPr>
                                  <a:xfrm>
                                    <a:off x="3569707" y="3980247"/>
                                    <a:ext cx="622406" cy="292837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</p:spPr>
                                <p:txBody>
                                  <a:bodyPr wrap="square" lIns="0" tIns="0" rIns="0" bIns="0" rtlCol="0" anchor="ctr">
                                    <a:spAutoFit/>
                                  </a:bodyPr>
                                  <a:lstStyle/>
                                  <a:p>
                                    <a:pPr algn="ctr">
                                      <a:lnSpc>
                                        <a:spcPct val="110000"/>
                                      </a:lnSpc>
                                      <a:spcAft>
                                        <a:spcPts val="500"/>
                                      </a:spcAft>
                                    </a:pPr>
                                    <a:r>
                                      <a:rPr lang="it-IT" sz="900" b="1" dirty="0" smtClean="0"/>
                                      <a:t>MQ CLIENT</a:t>
                                    </a:r>
                                    <a:endParaRPr lang="en-US" sz="900" b="1" dirty="0" err="1" smtClean="0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39" name="TextBox 38"/>
                                <p:cNvSpPr txBox="1"/>
                                <p:nvPr/>
                              </p:nvSpPr>
                              <p:spPr>
                                <a:xfrm>
                                  <a:off x="6664221" y="3980247"/>
                                  <a:ext cx="622406" cy="292837"/>
                                </a:xfrm>
                                <a:prstGeom prst="rect">
                                  <a:avLst/>
                                </a:prstGeom>
                                <a:noFill/>
                              </p:spPr>
                              <p:txBody>
                                <a:bodyPr wrap="square" lIns="0" tIns="0" rIns="0" bIns="0" rtlCol="0" anchor="ctr">
                                  <a:spAutoFit/>
                                </a:bodyPr>
                                <a:lstStyle/>
                                <a:p>
                                  <a:pPr algn="ctr">
                                    <a:lnSpc>
                                      <a:spcPct val="110000"/>
                                    </a:lnSpc>
                                    <a:spcAft>
                                      <a:spcPts val="500"/>
                                    </a:spcAft>
                                  </a:pPr>
                                  <a:r>
                                    <a:rPr lang="it-IT" sz="900" b="1" dirty="0" smtClean="0"/>
                                    <a:t>MQ CLIENT</a:t>
                                  </a:r>
                                  <a:endParaRPr lang="en-US" sz="900" b="1" dirty="0" err="1" smtClean="0"/>
                                </a:p>
                              </p:txBody>
                            </p:sp>
                            <p:sp>
                              <p:nvSpPr>
                                <p:cNvPr id="74" name="Left Bracket 73"/>
                                <p:cNvSpPr/>
                                <p:nvPr/>
                              </p:nvSpPr>
                              <p:spPr bwMode="auto">
                                <a:xfrm rot="16200000">
                                  <a:off x="5313386" y="1888764"/>
                                  <a:ext cx="236928" cy="4784472"/>
                                </a:xfrm>
                                <a:prstGeom prst="leftBracket">
                                  <a:avLst/>
                                </a:prstGeom>
                                <a:ln w="41275">
                                  <a:headEnd type="none" w="med" len="med"/>
                                  <a:tailEnd type="none" w="med" len="med"/>
                                </a:ln>
                              </p:spPr>
                              <p:style>
                                <a:lnRef idx="1">
                                  <a:schemeClr val="dk1"/>
                                </a:lnRef>
                                <a:fillRef idx="0">
                                  <a:schemeClr val="dk1"/>
                                </a:fillRef>
                                <a:effectRef idx="0">
                                  <a:schemeClr val="dk1"/>
                                </a:effectRef>
                                <a:fontRef idx="minor">
                                  <a:schemeClr val="tx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/>
                                </a:p>
                              </p:txBody>
                            </p:sp>
                          </p:grpSp>
                        </p:grpSp>
                      </p:grpSp>
                    </p:grpSp>
                  </p:grpSp>
                  <p:sp>
                    <p:nvSpPr>
                      <p:cNvPr id="76" name="Rectangle 75"/>
                      <p:cNvSpPr/>
                      <p:nvPr/>
                    </p:nvSpPr>
                    <p:spPr>
                      <a:xfrm>
                        <a:off x="4331078" y="4143485"/>
                        <a:ext cx="2033556" cy="261610"/>
                      </a:xfrm>
                      <a:prstGeom prst="rect">
                        <a:avLst/>
                      </a:prstGeom>
                    </p:spPr>
                    <p:txBody>
                      <a:bodyPr wrap="square">
                        <a:spAutoFit/>
                      </a:bodyPr>
                      <a:lstStyle/>
                      <a:p>
                        <a:pPr algn="ctr"/>
                        <a:r>
                          <a:rPr lang="en-US" sz="1100" b="1" dirty="0" smtClean="0"/>
                          <a:t>SORT_INST</a:t>
                        </a:r>
                        <a:r>
                          <a:rPr lang="en-US" sz="1100" dirty="0" smtClean="0"/>
                          <a:t> </a:t>
                        </a:r>
                        <a:r>
                          <a:rPr lang="en-US" sz="1100" dirty="0"/>
                          <a:t>/ </a:t>
                        </a:r>
                        <a:r>
                          <a:rPr lang="en-US" sz="1100" b="1" dirty="0"/>
                          <a:t>SORT_ACK</a:t>
                        </a:r>
                      </a:p>
                    </p:txBody>
                  </p:sp>
                </p:grpSp>
              </p:grpSp>
            </p:grpSp>
            <p:grpSp>
              <p:nvGrpSpPr>
                <p:cNvPr id="84" name="Group 83"/>
                <p:cNvGrpSpPr/>
                <p:nvPr/>
              </p:nvGrpSpPr>
              <p:grpSpPr>
                <a:xfrm>
                  <a:off x="3047550" y="2065377"/>
                  <a:ext cx="825986" cy="203133"/>
                  <a:chOff x="2102374" y="1361573"/>
                  <a:chExt cx="849667" cy="203133"/>
                </a:xfrm>
              </p:grpSpPr>
              <p:sp>
                <p:nvSpPr>
                  <p:cNvPr id="85" name="Left-Right Arrow 84"/>
                  <p:cNvSpPr/>
                  <p:nvPr/>
                </p:nvSpPr>
                <p:spPr bwMode="auto">
                  <a:xfrm>
                    <a:off x="2102374" y="1371599"/>
                    <a:ext cx="849667" cy="184244"/>
                  </a:xfrm>
                  <a:prstGeom prst="leftRightArrow">
                    <a:avLst/>
                  </a:prstGeom>
                  <a:solidFill>
                    <a:schemeClr val="bg2"/>
                  </a:solidFill>
                  <a:ln w="1270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72000" tIns="36000" rIns="36000" bIns="3600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95363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200" b="0" i="0" u="none" strike="noStrike" cap="none" normalizeH="0" baseline="0" dirty="0" err="1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</a:endParaRPr>
                  </a:p>
                </p:txBody>
              </p:sp>
              <p:sp>
                <p:nvSpPr>
                  <p:cNvPr id="86" name="TextBox 85"/>
                  <p:cNvSpPr txBox="1"/>
                  <p:nvPr/>
                </p:nvSpPr>
                <p:spPr>
                  <a:xfrm>
                    <a:off x="2361225" y="1361573"/>
                    <a:ext cx="320559" cy="20313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algn="ctr">
                      <a:lnSpc>
                        <a:spcPct val="110000"/>
                      </a:lnSpc>
                      <a:spcAft>
                        <a:spcPts val="500"/>
                      </a:spcAft>
                    </a:pPr>
                    <a:r>
                      <a:rPr lang="it-IT" sz="1200" dirty="0" smtClean="0"/>
                      <a:t>T2</a:t>
                    </a:r>
                    <a:endParaRPr lang="en-US" sz="1200" dirty="0" err="1" smtClean="0"/>
                  </a:p>
                </p:txBody>
              </p:sp>
            </p:grpSp>
          </p:grpSp>
        </p:grpSp>
        <p:cxnSp>
          <p:nvCxnSpPr>
            <p:cNvPr id="120" name="Elbow Connector 119"/>
            <p:cNvCxnSpPr>
              <a:stCxn id="23" idx="1"/>
              <a:endCxn id="32" idx="3"/>
            </p:cNvCxnSpPr>
            <p:nvPr/>
          </p:nvCxnSpPr>
          <p:spPr bwMode="auto">
            <a:xfrm rot="10800000" flipV="1">
              <a:off x="2046323" y="2806351"/>
              <a:ext cx="572841" cy="194091"/>
            </a:xfrm>
            <a:prstGeom prst="bentConnector3">
              <a:avLst>
                <a:gd name="adj1" fmla="val 66677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8" name="Oval 77"/>
            <p:cNvSpPr/>
            <p:nvPr/>
          </p:nvSpPr>
          <p:spPr bwMode="auto">
            <a:xfrm>
              <a:off x="3797405" y="3438461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7" name="Oval 76"/>
            <p:cNvSpPr/>
            <p:nvPr/>
          </p:nvSpPr>
          <p:spPr bwMode="auto">
            <a:xfrm>
              <a:off x="3799024" y="192630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0" name="Oval 79"/>
            <p:cNvSpPr/>
            <p:nvPr/>
          </p:nvSpPr>
          <p:spPr bwMode="auto">
            <a:xfrm>
              <a:off x="3801614" y="169318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2957727" y="1924752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2" name="Oval 81"/>
            <p:cNvSpPr/>
            <p:nvPr/>
          </p:nvSpPr>
          <p:spPr bwMode="auto">
            <a:xfrm>
              <a:off x="7736720" y="3438461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4886801" y="1733743"/>
            <a:ext cx="5913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it-IT" sz="900" dirty="0" smtClean="0"/>
              <a:t>TOE</a:t>
            </a: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23337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it-IT" dirty="0" err="1" smtClean="0"/>
              <a:t>fields</a:t>
            </a:r>
            <a:r>
              <a:rPr lang="it-IT" dirty="0" smtClean="0"/>
              <a:t> from </a:t>
            </a:r>
            <a:r>
              <a:rPr lang="it-IT" dirty="0" err="1" smtClean="0"/>
              <a:t>sniffer</a:t>
            </a:r>
            <a:endParaRPr lang="it-I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865019"/>
              </p:ext>
            </p:extLst>
          </p:nvPr>
        </p:nvGraphicFramePr>
        <p:xfrm>
          <a:off x="414000" y="946379"/>
          <a:ext cx="8085944" cy="3418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7022"/>
                <a:gridCol w="2731911"/>
                <a:gridCol w="1117600"/>
                <a:gridCol w="2539411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ield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ymbol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err="1" smtClean="0"/>
                        <a:t>Frame_Time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del pacchetto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P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</a:t>
                      </a:r>
                      <a:r>
                        <a:rPr lang="it-IT" sz="800" noProof="0" dirty="0" err="1" smtClean="0"/>
                        <a:t>dell</a:t>
                      </a:r>
                      <a:r>
                        <a:rPr lang="it-IT" sz="800" noProof="0" dirty="0" smtClean="0"/>
                        <a:t> pacchetto precedente (stesso</a:t>
                      </a:r>
                      <a:r>
                        <a:rPr lang="it-IT" sz="800" baseline="0" noProof="0" dirty="0" smtClean="0"/>
                        <a:t> VID)</a:t>
                      </a:r>
                      <a:r>
                        <a:rPr lang="it-IT" sz="800" noProof="0" dirty="0" smtClean="0"/>
                        <a:t>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noProof="0" dirty="0" smtClean="0"/>
                        <a:t>_</a:t>
                      </a:r>
                      <a:r>
                        <a:rPr lang="en-US" sz="1100" noProof="0" dirty="0" err="1" smtClean="0"/>
                        <a:t>DIFF_mill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Differenza con</a:t>
                      </a:r>
                      <a:r>
                        <a:rPr lang="it-IT" sz="800" baseline="0" noProof="0" dirty="0" smtClean="0"/>
                        <a:t> millesimi tra </a:t>
                      </a:r>
                      <a:r>
                        <a:rPr lang="it-IT" sz="800" baseline="0" noProof="0" dirty="0" err="1" smtClean="0"/>
                        <a:t>Frame_Time</a:t>
                      </a:r>
                      <a:r>
                        <a:rPr lang="it-IT" sz="800" baseline="0" noProof="0" dirty="0" smtClean="0"/>
                        <a:t> e </a:t>
                      </a:r>
                      <a:r>
                        <a:rPr lang="it-IT" sz="800" baseline="0" noProof="0" dirty="0" err="1" smtClean="0"/>
                        <a:t>Frame_Time_Precedente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el messaggio precedente (con stesso VID)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r>
                        <a:rPr lang="en-US" sz="1100" noProof="0" dirty="0" smtClean="0"/>
                        <a:t>_mi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Differenza con</a:t>
                      </a:r>
                      <a:r>
                        <a:rPr lang="it-IT" sz="800" baseline="0" noProof="0" dirty="0" smtClean="0"/>
                        <a:t> millesimi tra HDEVTM e </a:t>
                      </a:r>
                      <a:r>
                        <a:rPr lang="it-IT" sz="800" baseline="0" noProof="0" dirty="0" err="1" smtClean="0"/>
                        <a:t>HDEVTM_Precedente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2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T2</a:t>
                      </a:r>
                      <a:r>
                        <a:rPr lang="it-IT" sz="800" baseline="0" noProof="0" dirty="0" smtClean="0"/>
                        <a:t> </a:t>
                      </a:r>
                      <a:r>
                        <a:rPr lang="it-IT" sz="800" baseline="0" noProof="0" dirty="0" err="1" smtClean="0"/>
                        <a:t>segment</a:t>
                      </a:r>
                      <a:r>
                        <a:rPr lang="it-IT" sz="800" baseline="0" noProof="0" dirty="0" smtClean="0"/>
                        <a:t> </a:t>
                      </a:r>
                      <a:r>
                        <a:rPr lang="it-IT" sz="800" baseline="0" noProof="0" dirty="0" err="1" smtClean="0"/>
                        <a:t>calculation</a:t>
                      </a:r>
                      <a:r>
                        <a:rPr lang="it-IT" sz="800" baseline="0" noProof="0" dirty="0" smtClean="0"/>
                        <a:t> time for T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aseline="0" noProof="0" dirty="0" smtClean="0"/>
                        <a:t>(</a:t>
                      </a:r>
                      <a:r>
                        <a:rPr lang="it-IT" sz="800" noProof="0" dirty="0" err="1" smtClean="0"/>
                        <a:t>Frame_Time</a:t>
                      </a:r>
                      <a:r>
                        <a:rPr lang="en-US" sz="800" baseline="0" noProof="0" dirty="0" smtClean="0"/>
                        <a:t> – </a:t>
                      </a:r>
                      <a:r>
                        <a:rPr lang="en-US" sz="800" dirty="0" smtClean="0"/>
                        <a:t>HDEVTM</a:t>
                      </a:r>
                      <a:r>
                        <a:rPr lang="en-US" sz="800" noProof="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b="0" noProof="0" dirty="0" smtClean="0"/>
                        <a:t>[2019-11-08: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Actually</a:t>
                      </a:r>
                      <a:r>
                        <a:rPr lang="it-IT" sz="1050" b="0" baseline="0" noProof="0" dirty="0" smtClean="0"/>
                        <a:t> T2 </a:t>
                      </a:r>
                      <a:r>
                        <a:rPr lang="it-IT" sz="1050" b="0" baseline="0" noProof="0" dirty="0" err="1" smtClean="0"/>
                        <a:t>don’t</a:t>
                      </a:r>
                      <a:r>
                        <a:rPr lang="it-IT" sz="1050" b="0" baseline="0" noProof="0" dirty="0" smtClean="0"/>
                        <a:t> use </a:t>
                      </a:r>
                      <a:r>
                        <a:rPr lang="it-IT" sz="1050" b="0" baseline="0" noProof="0" dirty="0" err="1" smtClean="0"/>
                        <a:t>millisecond</a:t>
                      </a:r>
                      <a:r>
                        <a:rPr lang="it-IT" sz="1050" b="0" baseline="0" noProof="0" dirty="0" smtClean="0"/>
                        <a:t>, the </a:t>
                      </a:r>
                      <a:r>
                        <a:rPr lang="it-IT" sz="1050" b="0" baseline="0" noProof="0" dirty="0" err="1" smtClean="0"/>
                        <a:t>metric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is</a:t>
                      </a:r>
                      <a:r>
                        <a:rPr lang="it-IT" sz="1050" b="0" baseline="0" noProof="0" dirty="0" smtClean="0"/>
                        <a:t> not </a:t>
                      </a:r>
                      <a:r>
                        <a:rPr lang="it-IT" sz="1050" b="0" baseline="0" noProof="0" dirty="0" err="1" smtClean="0"/>
                        <a:t>usefull</a:t>
                      </a:r>
                      <a:r>
                        <a:rPr lang="it-IT" sz="1050" b="0" noProof="0" dirty="0" smtClean="0"/>
                        <a:t>]</a:t>
                      </a:r>
                      <a:endParaRPr lang="en-US" sz="1050" b="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6T7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Segment</a:t>
                      </a:r>
                      <a:r>
                        <a:rPr lang="it-IT" sz="800" noProof="0" dirty="0" smtClean="0"/>
                        <a:t> </a:t>
                      </a:r>
                      <a:r>
                        <a:rPr lang="it-IT" sz="800" noProof="0" dirty="0" err="1" smtClean="0"/>
                        <a:t>calculation</a:t>
                      </a:r>
                      <a:r>
                        <a:rPr lang="it-IT" sz="800" noProof="0" dirty="0" smtClean="0"/>
                        <a:t> time for T6 and T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aseline="0" noProof="0" dirty="0" smtClean="0"/>
                        <a:t>(</a:t>
                      </a:r>
                      <a:r>
                        <a:rPr lang="it-IT" sz="800" noProof="0" dirty="0" err="1" smtClean="0"/>
                        <a:t>Frame_Time</a:t>
                      </a:r>
                      <a:r>
                        <a:rPr lang="en-US" sz="800" baseline="0" noProof="0" dirty="0" smtClean="0"/>
                        <a:t> – </a:t>
                      </a:r>
                      <a:r>
                        <a:rPr lang="en-US" sz="800" dirty="0" smtClean="0"/>
                        <a:t>HDEVTM</a:t>
                      </a:r>
                      <a:r>
                        <a:rPr lang="en-US" sz="800" noProof="0" dirty="0" smtClean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50" b="0" noProof="0" dirty="0" smtClean="0"/>
                        <a:t>[2019-11-08: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Actually</a:t>
                      </a:r>
                      <a:r>
                        <a:rPr lang="it-IT" sz="1050" b="0" baseline="0" noProof="0" dirty="0" smtClean="0"/>
                        <a:t> T2 </a:t>
                      </a:r>
                      <a:r>
                        <a:rPr lang="it-IT" sz="1050" b="0" baseline="0" noProof="0" dirty="0" err="1" smtClean="0"/>
                        <a:t>don’t</a:t>
                      </a:r>
                      <a:r>
                        <a:rPr lang="it-IT" sz="1050" b="0" baseline="0" noProof="0" dirty="0" smtClean="0"/>
                        <a:t> use </a:t>
                      </a:r>
                      <a:r>
                        <a:rPr lang="it-IT" sz="1050" b="0" baseline="0" noProof="0" dirty="0" err="1" smtClean="0"/>
                        <a:t>millisecond</a:t>
                      </a:r>
                      <a:r>
                        <a:rPr lang="it-IT" sz="1050" b="0" baseline="0" noProof="0" dirty="0" smtClean="0"/>
                        <a:t>, the </a:t>
                      </a:r>
                      <a:r>
                        <a:rPr lang="it-IT" sz="1050" b="0" baseline="0" noProof="0" dirty="0" err="1" smtClean="0"/>
                        <a:t>metric</a:t>
                      </a:r>
                      <a:r>
                        <a:rPr lang="it-IT" sz="1050" b="0" baseline="0" noProof="0" dirty="0" smtClean="0"/>
                        <a:t> </a:t>
                      </a:r>
                      <a:r>
                        <a:rPr lang="it-IT" sz="1050" b="0" baseline="0" noProof="0" dirty="0" err="1" smtClean="0"/>
                        <a:t>is</a:t>
                      </a:r>
                      <a:r>
                        <a:rPr lang="it-IT" sz="1050" b="0" baseline="0" noProof="0" dirty="0" smtClean="0"/>
                        <a:t> not </a:t>
                      </a:r>
                      <a:r>
                        <a:rPr lang="it-IT" sz="1050" b="0" baseline="0" noProof="0" dirty="0" err="1" smtClean="0"/>
                        <a:t>usefull</a:t>
                      </a:r>
                      <a:r>
                        <a:rPr lang="it-IT" sz="1050" b="0" noProof="0" dirty="0" smtClean="0"/>
                        <a:t>]</a:t>
                      </a:r>
                      <a:endParaRPr lang="en-US" sz="1100" b="0" noProof="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5146969" y="1443400"/>
            <a:ext cx="549510" cy="2767353"/>
            <a:chOff x="5779153" y="1443400"/>
            <a:chExt cx="549510" cy="2767353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79154" y="3689406"/>
              <a:ext cx="549509" cy="91043"/>
            </a:xfrm>
            <a:prstGeom prst="rect">
              <a:avLst/>
            </a:prstGeom>
          </p:spPr>
        </p:pic>
        <p:sp>
          <p:nvSpPr>
            <p:cNvPr id="9" name="Oval 8"/>
            <p:cNvSpPr/>
            <p:nvPr/>
          </p:nvSpPr>
          <p:spPr bwMode="auto">
            <a:xfrm>
              <a:off x="5972021" y="1443400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0" name="Oval 9"/>
            <p:cNvSpPr/>
            <p:nvPr/>
          </p:nvSpPr>
          <p:spPr bwMode="auto">
            <a:xfrm>
              <a:off x="5972021" y="1811776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1" name="Oval 10"/>
            <p:cNvSpPr/>
            <p:nvPr/>
          </p:nvSpPr>
          <p:spPr bwMode="auto">
            <a:xfrm>
              <a:off x="5962086" y="2909155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79153" y="4153291"/>
              <a:ext cx="549509" cy="57462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10383" y="2105872"/>
              <a:ext cx="126773" cy="2871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43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TOW and COW</a:t>
            </a:r>
            <a:endParaRPr lang="it-IT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tangle 3"/>
              <p:cNvSpPr/>
              <p:nvPr/>
            </p:nvSpPr>
            <p:spPr>
              <a:xfrm>
                <a:off x="570088" y="1164852"/>
                <a:ext cx="8159912" cy="36075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b="1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Time One Way</a:t>
                </a:r>
                <a:r>
                  <a:rPr lang="en-US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: will measuring the sum of T3, T4, T5, T6 and T7. This time is  SORT_REQUEST and SORT_RESULT (between T2 and T1). Half time is a “One Way”.</a:t>
                </a:r>
              </a:p>
              <a:p>
                <a:pPr algn="ctr">
                  <a:spcAft>
                    <a:spcPts val="0"/>
                  </a:spcAft>
                </a:pPr>
                <a:r>
                  <a:rPr lang="it-IT" b="1" i="1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Times New Roman" panose="02020603050405020304" pitchFamily="18" charset="0"/>
                  </a:rPr>
                  <a:t>TOW </a:t>
                </a:r>
                <a14:m>
                  <m:oMath xmlns:m="http://schemas.openxmlformats.org/officeDocument/2006/math">
                    <m:r>
                      <a:rPr lang="it-IT" sz="2000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</m:t>
                    </m:r>
                    <m:f>
                      <m:fPr>
                        <m:ctrlPr>
                          <a:rPr lang="it-IT" sz="20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it-IT" sz="2000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𝐹𝑟𝑎𝑚</m:t>
                        </m:r>
                        <m:sSub>
                          <m:sSubPr>
                            <m:ctrlP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</m:ctrlPr>
                          </m:sSubPr>
                          <m:e>
                            <m: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it-IT" sz="2000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</a:rPr>
                              <m:t>𝑇𝑖𝑚</m:t>
                            </m:r>
                            <m:sSub>
                              <m:sSubPr>
                                <m:ctrlP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</m:ctrlPr>
                              </m:sSubPr>
                              <m:e>
                                <m: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  <m:t>𝑒</m:t>
                                </m:r>
                              </m:e>
                              <m:sub>
                                <m:r>
                                  <a:rPr lang="it-IT" sz="2000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</a:rPr>
                                  <m:t>𝐷𝐼𝐹</m:t>
                                </m:r>
                                <m:sSub>
                                  <m:sSubPr>
                                    <m:ctrlP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  <m:t>𝐹</m:t>
                                    </m:r>
                                  </m:e>
                                  <m:sub>
                                    <m:r>
                                      <a:rPr lang="it-IT" sz="2000" i="1">
                                        <a:latin typeface="Cambria Math" panose="02040503050406030204" pitchFamily="18" charset="0"/>
                                        <a:ea typeface="Calibri" panose="020F0502020204030204" pitchFamily="34" charset="0"/>
                                      </a:rPr>
                                      <m:t>𝑚𝑖𝑙𝑙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</m:num>
                      <m:den>
                        <m:r>
                          <a:rPr lang="it-IT" sz="2000" b="0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2</m:t>
                        </m:r>
                      </m:den>
                    </m:f>
                  </m:oMath>
                </a14:m>
                <a:endParaRPr lang="it-IT" b="1" i="1" dirty="0">
                  <a:solidFill>
                    <a:srgbClr val="000000"/>
                  </a:solidFill>
                  <a:latin typeface="Cambria Math" panose="02040503050406030204" pitchFamily="18" charset="0"/>
                  <a:ea typeface="Times New Roman" panose="02020603050405020304" pitchFamily="18" charset="0"/>
                </a:endParaRPr>
              </a:p>
              <a:p>
                <a:pPr>
                  <a:spcAft>
                    <a:spcPts val="0"/>
                  </a:spcAft>
                </a:pPr>
                <a:endParaRPr lang="en-US" sz="2800" dirty="0"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  <a:p>
                <a:r>
                  <a:rPr lang="en-US" b="1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Capacity One Way</a:t>
                </a:r>
                <a:r>
                  <a:rPr lang="en-US" dirty="0" smtClean="0">
                    <a:solidFill>
                      <a:srgbClr val="000000"/>
                    </a:solidFill>
                    <a:latin typeface="Segoe UI" panose="020B0502040204020203" pitchFamily="34" charset="0"/>
                    <a:ea typeface="Times New Roman" panose="02020603050405020304" pitchFamily="18" charset="0"/>
                  </a:rPr>
                  <a:t>: calculating in 1 minute, is the actual network Capacity for exchange MQ messages in “One Way” direction.</a:t>
                </a:r>
              </a:p>
              <a:p>
                <a:endParaRPr lang="en-US" dirty="0" smtClean="0">
                  <a:solidFill>
                    <a:srgbClr val="000000"/>
                  </a:solidFill>
                  <a:latin typeface="Segoe UI" panose="020B0502040204020203" pitchFamily="34" charset="0"/>
                  <a:ea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𝑪𝑶𝑾</m:t>
                      </m:r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=</m:t>
                      </m:r>
                      <m:d>
                        <m:dPr>
                          <m:ctrlPr>
                            <a:rPr lang="it-IT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it-IT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Times New Roman" panose="020206030504050203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</m:ctrlPr>
                            </m:fPr>
                            <m:num>
                              <m: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it-IT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Times New Roman" panose="02020603050405020304" pitchFamily="18" charset="0"/>
                                </a:rPr>
                                <m:t>𝑇𝑂𝑊</m:t>
                              </m:r>
                            </m:den>
                          </m:f>
                        </m:e>
                      </m:d>
                      <m:r>
                        <a:rPr lang="it-IT" b="0" i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Times New Roman" panose="02020603050405020304" pitchFamily="18" charset="0"/>
                        </a:rPr>
                        <m:t>∗60</m:t>
                      </m:r>
                    </m:oMath>
                  </m:oMathPara>
                </a14:m>
                <a:endParaRPr lang="en-US" dirty="0" smtClean="0">
                  <a:solidFill>
                    <a:srgbClr val="000000"/>
                  </a:solidFill>
                  <a:latin typeface="Segoe UI" panose="020B0502040204020203" pitchFamily="34" charset="0"/>
                  <a:ea typeface="Times New Roman" panose="02020603050405020304" pitchFamily="18" charset="0"/>
                </a:endParaRPr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4" name="Rectangle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0088" y="1164852"/>
                <a:ext cx="8159912" cy="3607526"/>
              </a:xfrm>
              <a:prstGeom prst="rect">
                <a:avLst/>
              </a:prstGeom>
              <a:blipFill rotWithShape="0">
                <a:blip r:embed="rId2"/>
                <a:stretch>
                  <a:fillRect l="-673" t="-6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2720" y="137847"/>
            <a:ext cx="667280" cy="66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814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42145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7mnEzVN0i5uwEmadSa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heme/theme1.xml><?xml version="1.0" encoding="utf-8"?>
<a:theme xmlns:a="http://schemas.openxmlformats.org/drawingml/2006/main" name="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.potx" id="{EE4D8910-6653-4EC0-B95E-1F0E6430571C}" vid="{32F225D3-6505-4AAF-BB49-C7F70A3739E7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01064E6EC58D46A7FD20DE64ECD378" ma:contentTypeVersion="0" ma:contentTypeDescription="Create a new document." ma:contentTypeScope="" ma:versionID="fe6a3742a816299d903fc890581757a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7B7E0C-FFAF-422D-90B6-765F08D3071F}">
  <ds:schemaRefs>
    <ds:schemaRef ds:uri="http://schemas.openxmlformats.org/package/2006/metadata/core-properties"/>
    <ds:schemaRef ds:uri="http://purl.org/dc/elements/1.1/"/>
    <ds:schemaRef ds:uri="http://www.w3.org/XML/1998/namespace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2DACCA1-0F17-44BE-8C2B-6FDDE00452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FEFAC8A-EEA6-4CD2-9327-1702F453C5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_PPT_16x9</Template>
  <TotalTime>11707</TotalTime>
  <Words>238</Words>
  <Application>Microsoft Office PowerPoint</Application>
  <PresentationFormat>On-screen Show (16:9)</PresentationFormat>
  <Paragraphs>61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mbria Math</vt:lpstr>
      <vt:lpstr>Segoe UI</vt:lpstr>
      <vt:lpstr>Times New Roman</vt:lpstr>
      <vt:lpstr>Wingdings</vt:lpstr>
      <vt:lpstr>DHL_PPT_16x9</vt:lpstr>
      <vt:lpstr>think-cell Folie</vt:lpstr>
      <vt:lpstr>PowerPoint Presentation</vt:lpstr>
      <vt:lpstr>Overview</vt:lpstr>
      <vt:lpstr>High Level Communications Schema – TIER 1 / TIER 2</vt:lpstr>
      <vt:lpstr>MQ – Data fields from sniffer</vt:lpstr>
      <vt:lpstr>TOW and COW</vt:lpstr>
      <vt:lpstr>PowerPoint Presentation</vt:lpstr>
    </vt:vector>
  </TitlesOfParts>
  <Company>DH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note: Important instructions for information classification</dc:title>
  <dc:creator>gpredari</dc:creator>
  <cp:keywords>16 to 9</cp:keywords>
  <cp:lastModifiedBy>Alberto Biasibetti (DHL IT)</cp:lastModifiedBy>
  <cp:revision>1218</cp:revision>
  <dcterms:created xsi:type="dcterms:W3CDTF">2015-02-02T13:39:48Z</dcterms:created>
  <dcterms:modified xsi:type="dcterms:W3CDTF">2019-11-08T11:3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3.0</vt:lpwstr>
  </property>
  <property fmtid="{D5CDD505-2E9C-101B-9397-08002B2CF9AE}" pid="4" name="Office">
    <vt:lpwstr>2007/2010</vt:lpwstr>
  </property>
  <property fmtid="{D5CDD505-2E9C-101B-9397-08002B2CF9AE}" pid="5" name="ContentTypeId">
    <vt:lpwstr>0x0101005101064E6EC58D46A7FD20DE64ECD378</vt:lpwstr>
  </property>
</Properties>
</file>